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3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5CA6D4-7DF3-4A68-A05A-333D3A850D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E07BC4-7F1E-40D3-9FFF-B7738AF2FD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BB5B9-116E-4653-98B9-F1A82D480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FEBBE7-4132-42C2-8F38-9B7670CF8A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B831B-FD9C-4210-B1FB-4D9BB3572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829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2329D-AC7D-4B5D-8B14-A96A7447F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82129E-7DDB-4070-B976-0C0928B04B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44AC4F-EFBA-47B8-8B9A-FC1F2AFF6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22BD56-E51A-4379-BB50-4F4AAA7FD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FC2862-0F51-483C-A52F-CE13ACDB4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331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3726C1-C710-4E5C-891E-B54F1AAC9C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C5E9C2-21E2-42D9-BB66-3A5F67C330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E9A92E-9273-4D8B-8C03-65ADB717F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B0C432-5608-4E12-99C1-BE1DE4BBD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854755-4E90-42DA-B7E2-993264402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39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3B69E-72C6-4007-A1B3-A6D993383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EE4DD-CC57-428A-A725-5366EC0596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7E52E-4C72-48A5-9797-7B4E15360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3A009C-8FBD-4370-8201-A7D615FDA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4616B7-82C3-4B9A-B2F6-75020201A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09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7409E-7D51-4028-A5FE-DCCBD6FB2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B23F8-8BAB-47BB-AE00-9FA5F8D5F0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630284-0A16-45C1-91AC-081A8E86F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C40BE-D8A8-4E6E-99C8-30DBEC657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CB1769-A746-47DE-9460-3F4776B79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693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753AA-DF87-4595-A2E7-501600A33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CC898-5F5F-4832-9775-F9EB047F9B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73AFE-F11A-4551-9A07-CE553FDC1E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BC8E3B-4550-46D4-80A0-BB23EBAFE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B10DBF-2C12-4C66-ADB7-EDC690EFD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4A496A-5116-4A5E-9A67-97C1B6D81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758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75AA7-0779-4D24-8E7C-2F65C8D5B8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91DBB6-C292-40FA-9587-E5B3A7CFE3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9C13A2-B60C-430C-80E7-5A327AD725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771E01-77B9-4CE9-AE69-AF3F133457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D4DE8-9F99-420D-BE4C-715E751E3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BBED2B-4454-4831-819D-12B4B7138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420FF6-E3ED-49FC-BF82-26594BBE34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F3A01F-C8D0-4C91-831E-8E6D0BE8A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624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7FE4B7-E233-402E-8090-255798AAB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F319D0-395B-4526-898C-265F60D58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80F832-9D6C-4EEB-A560-A004357CC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6C95B3-E332-4F81-BE2C-2661EE408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577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A9436E-6A2B-4C5E-B5A6-EF4A3473D7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51C1EB-13D2-4D63-963B-89084A920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C195E8-BF43-43CA-8275-AD315F342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019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C54EC-3B0F-4D84-A5DC-77B9D2929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93418-3938-4034-9051-938621787A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D78CF0-86D4-4415-9134-BF55BD2E26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45DF44-D85F-4F46-A5ED-31C1204DC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960F2-1A0D-470C-ACDF-42284F630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EBE84A-7343-4DFA-8813-124E522EB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218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B57D8-1822-4750-BB7F-D26656D68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ABF479-51C5-4EA3-8D29-34B2BC16EF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159171-C932-4179-A6D4-C53E3D9B6E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D06080-36A0-41DF-A1C5-6C520AE31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2C6797-931B-415F-A13F-2DF00F778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42A4D8-83BC-4463-B8B2-79E115CE6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201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4B485D-88D7-4136-802A-8212B2651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0925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51412B-0375-4DC9-97D4-1E6B6E2E947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AE2C16-D327-4137-8ADD-284922924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69A19-1F0E-4223-AFD6-71E6A4B07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4C298-460C-4EAD-A7DB-51D9853E6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03A5D-B00C-4808-9C26-4F738AB4303D}" type="datetimeFigureOut">
              <a:rPr lang="en-US" smtClean="0"/>
              <a:t>10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CFC95-7E4D-429C-B2F1-57F4FC92FB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877382-301F-4A7E-BD2E-96FD7C863E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C2ECD1-C1C3-48B3-B614-7DA38A8F0D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92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7BFEB-69A7-409B-9930-3F2D8A43B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743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197A0F-C56A-4061-A569-97FE6FB61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33909-5062-4A1A-8181-D836C8DDE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ge 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B371A-7C19-4E81-A2F1-591F58E459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411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7BFEB-69A7-409B-9930-3F2D8A43B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076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A7BFEB-69A7-409B-9930-3F2D8A43B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197A0F-C56A-4061-A569-97FE6FB61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33909-5062-4A1A-8181-D836C8DDE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ge 2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B371A-7C19-4E81-A2F1-591F58E459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54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7BFEB-69A7-409B-9930-3F2D8A43B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20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A7BFEB-69A7-409B-9930-3F2D8A43B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197A0F-C56A-4061-A569-97FE6FB61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33909-5062-4A1A-8181-D836C8DDE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ge 3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B371A-7C19-4E81-A2F1-591F58E459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653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7BFEB-69A7-409B-9930-3F2D8A43B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213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A7BFEB-69A7-409B-9930-3F2D8A43B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197A0F-C56A-4061-A569-97FE6FB61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33909-5062-4A1A-8181-D836C8DDE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age 4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B371A-7C19-4E81-A2F1-591F58E459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0581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7BFEB-69A7-409B-9930-3F2D8A43B0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845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A7BFEB-69A7-409B-9930-3F2D8A43B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F197A0F-C56A-4061-A569-97FE6FB61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033909-5062-4A1A-8181-D836C8DDE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age 5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B371A-7C19-4E81-A2F1-591F58E459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268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Kp0SibokrhdOG_l1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Kp0SibokrhdOG_l1U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5OW1eDZSBpPMPVnP00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Kp0SibokrhdOG_l1U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Kp0SibokrhdOG_l1U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Kp0SibokrhdOG_l1U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Office PowerPoint</Application>
  <PresentationFormat>Widescreen</PresentationFormat>
  <Paragraphs>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Page 1</vt:lpstr>
      <vt:lpstr>Page 2</vt:lpstr>
      <vt:lpstr>Page 3</vt:lpstr>
      <vt:lpstr>Page 4</vt:lpstr>
      <vt:lpstr>Page 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ge 1</dc:title>
  <dc:creator>Aniruddha Joshi</dc:creator>
  <cp:lastModifiedBy>Aniruddha Joshi</cp:lastModifiedBy>
  <cp:revision>1</cp:revision>
  <dcterms:created xsi:type="dcterms:W3CDTF">2020-10-08T20:20:01Z</dcterms:created>
  <dcterms:modified xsi:type="dcterms:W3CDTF">2020-10-08T20:20:46Z</dcterms:modified>
</cp:coreProperties>
</file>